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A1B00ADC-F756-4E14-89E2-76E4C79AF682}"/>
    <pc:docChg chg="modSld">
      <pc:chgData name="Weigel Stefan (PAR-EPS)" userId="fd3b2067-2981-4ad8-bf3a-d2e1004e4fa8" providerId="ADAL" clId="{A1B00ADC-F756-4E14-89E2-76E4C79AF682}" dt="2025-04-25T14:32:23.562" v="48" actId="27918"/>
      <pc:docMkLst>
        <pc:docMk/>
      </pc:docMkLst>
      <pc:sldChg chg="modSp mod">
        <pc:chgData name="Weigel Stefan (PAR-EPS)" userId="fd3b2067-2981-4ad8-bf3a-d2e1004e4fa8" providerId="ADAL" clId="{A1B00ADC-F756-4E14-89E2-76E4C79AF682}" dt="2025-04-25T14:32:23.562" v="48" actId="27918"/>
        <pc:sldMkLst>
          <pc:docMk/>
          <pc:sldMk cId="2378578510" sldId="412"/>
        </pc:sldMkLst>
        <pc:spChg chg="mod">
          <ac:chgData name="Weigel Stefan (PAR-EPS)" userId="fd3b2067-2981-4ad8-bf3a-d2e1004e4fa8" providerId="ADAL" clId="{A1B00ADC-F756-4E14-89E2-76E4C79AF682}" dt="2025-04-25T13:38:47.044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1B00ADC-F756-4E14-89E2-76E4C79AF682}" dt="2025-04-25T13:38:57.647" v="2" actId="6549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PS)" userId="fd3b2067-2981-4ad8-bf3a-d2e1004e4fa8" providerId="ADAL" clId="{A1B00ADC-F756-4E14-89E2-76E4C79AF682}" dt="2025-04-25T14:20:58.306" v="42" actId="14100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G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G$4:$G$15</c:f>
              <c:strCache>
                <c:ptCount val="12"/>
                <c:pt idx="0">
                  <c:v>Zürich Flughafen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Basel SBB</c:v>
                </c:pt>
                <c:pt idx="7">
                  <c:v>Luzern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4:$H$15</c:f>
              <c:numCache>
                <c:formatCode>#,##0</c:formatCode>
                <c:ptCount val="12"/>
                <c:pt idx="0">
                  <c:v>52900</c:v>
                </c:pt>
                <c:pt idx="1">
                  <c:v>61400</c:v>
                </c:pt>
                <c:pt idx="2">
                  <c:v>83700</c:v>
                </c:pt>
                <c:pt idx="3">
                  <c:v>84500</c:v>
                </c:pt>
                <c:pt idx="4">
                  <c:v>89800</c:v>
                </c:pt>
                <c:pt idx="5">
                  <c:v>98100</c:v>
                </c:pt>
                <c:pt idx="6">
                  <c:v>109000</c:v>
                </c:pt>
                <c:pt idx="7">
                  <c:v>109800</c:v>
                </c:pt>
                <c:pt idx="8">
                  <c:v>112600</c:v>
                </c:pt>
                <c:pt idx="9">
                  <c:v>114300</c:v>
                </c:pt>
                <c:pt idx="10">
                  <c:v>193100</c:v>
                </c:pt>
                <c:pt idx="11">
                  <c:v>438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I$1</c15:sqref>
                        </c15:formulaRef>
                      </c:ext>
                    </c:extLst>
                    <c:strCache>
                      <c:ptCount val="1"/>
                      <c:pt idx="0">
                        <c:v>2018</c:v>
                      </c:pt>
                    </c:strCache>
                  </c:strRef>
                </c:tx>
                <c:spPr>
                  <a:solidFill>
                    <a:srgbClr val="C0C0C0"/>
                  </a:solidFill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data!$I$4:$I$15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52500</c:v>
                      </c:pt>
                      <c:pt idx="1">
                        <c:v>59700</c:v>
                      </c:pt>
                      <c:pt idx="2">
                        <c:v>82800</c:v>
                      </c:pt>
                      <c:pt idx="3">
                        <c:v>83000</c:v>
                      </c:pt>
                      <c:pt idx="4">
                        <c:v>70700</c:v>
                      </c:pt>
                      <c:pt idx="5">
                        <c:v>94700</c:v>
                      </c:pt>
                      <c:pt idx="6">
                        <c:v>111000</c:v>
                      </c:pt>
                      <c:pt idx="7">
                        <c:v>97900</c:v>
                      </c:pt>
                      <c:pt idx="8">
                        <c:v>102500</c:v>
                      </c:pt>
                      <c:pt idx="9">
                        <c:v>109300</c:v>
                      </c:pt>
                      <c:pt idx="10">
                        <c:v>206400</c:v>
                      </c:pt>
                      <c:pt idx="11">
                        <c:v>4713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329-4BC0-B2A2-0C7A0E889DD6}"/>
                  </c:ext>
                </c:extLst>
              </c15:ser>
            </c15:filteredBarSeries>
          </c:ext>
        </c:extLst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5.04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- und Aussteigende an den Bahnhöfen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334044518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urchschnittliche Anzahl Ein- und Aussteiger pro Werktag.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126591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argestellt sind die 12 frequenzstärksten Bahnhöfe, berücksichtigt werden Passagiere der Eisenbahn. Zürich HB: ohne SZU; Bern: ohne RBS; Basel SBB und Genève: Einsteigende in Richtung Ausland und Aussteigende aus dem Ausland sind nur zum Teil erfasst; Zürich Stadelhofen: ohne FB. Bezug: Fahrplanjahr 2024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purl.org/dc/elements/1.1/"/>
    <ds:schemaRef ds:uri="http://schemas.microsoft.com/office/infopath/2007/PartnerControls"/>
    <ds:schemaRef ds:uri="96e82a89-ba48-4728-b345-cf206dbec8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1BB35A3-B612-4CFF-8787-B9EE2F94B9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in- und Aussteigende an den Bahnhöfen im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- und Aussteigende an den Bahnhöfen im 2024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4-25T14:3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